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3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31.xml" ContentType="application/vnd.openxmlformats-officedocument.presentationml.tags+xml"/>
  <Override PartName="/ppt/notesSlides/notesSlide36.xml" ContentType="application/vnd.openxmlformats-officedocument.presentationml.notesSlide+xml"/>
  <Override PartName="/ppt/tags/tag32.xml" ContentType="application/vnd.openxmlformats-officedocument.presentationml.tags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42"/>
  </p:notesMasterIdLst>
  <p:sldIdLst>
    <p:sldId id="321" r:id="rId3"/>
    <p:sldId id="330" r:id="rId4"/>
    <p:sldId id="290" r:id="rId5"/>
    <p:sldId id="331" r:id="rId6"/>
    <p:sldId id="294" r:id="rId7"/>
    <p:sldId id="2145705951" r:id="rId8"/>
    <p:sldId id="2145705925" r:id="rId9"/>
    <p:sldId id="2145705952" r:id="rId10"/>
    <p:sldId id="2145705988" r:id="rId11"/>
    <p:sldId id="2145705989" r:id="rId12"/>
    <p:sldId id="2145706005" r:id="rId13"/>
    <p:sldId id="2145706006" r:id="rId14"/>
    <p:sldId id="2145705990" r:id="rId15"/>
    <p:sldId id="2145705991" r:id="rId16"/>
    <p:sldId id="2145705978" r:id="rId17"/>
    <p:sldId id="2145706010" r:id="rId18"/>
    <p:sldId id="2145706009" r:id="rId19"/>
    <p:sldId id="2145705992" r:id="rId20"/>
    <p:sldId id="2145705998" r:id="rId21"/>
    <p:sldId id="2145706019" r:id="rId22"/>
    <p:sldId id="2145706007" r:id="rId23"/>
    <p:sldId id="2145706008" r:id="rId24"/>
    <p:sldId id="2145706011" r:id="rId25"/>
    <p:sldId id="2145706021" r:id="rId26"/>
    <p:sldId id="2145706012" r:id="rId27"/>
    <p:sldId id="2145706023" r:id="rId28"/>
    <p:sldId id="2145706013" r:id="rId29"/>
    <p:sldId id="2145706017" r:id="rId30"/>
    <p:sldId id="2145706018" r:id="rId31"/>
    <p:sldId id="2145706014" r:id="rId32"/>
    <p:sldId id="2145706016" r:id="rId33"/>
    <p:sldId id="2145706022" r:id="rId34"/>
    <p:sldId id="2145706024" r:id="rId35"/>
    <p:sldId id="2145706015" r:id="rId36"/>
    <p:sldId id="2145706004" r:id="rId37"/>
    <p:sldId id="2145705823" r:id="rId38"/>
    <p:sldId id="2145705934" r:id="rId39"/>
    <p:sldId id="2145705791" r:id="rId40"/>
    <p:sldId id="2145705742" r:id="rId41"/>
  </p:sldIdLst>
  <p:sldSz cx="18288000" cy="10287000"/>
  <p:notesSz cx="6858000" cy="9144000"/>
  <p:embeddedFontLst>
    <p:embeddedFont>
      <p:font typeface="Cascadia Mono" panose="020B0609020000020004" pitchFamily="49" charset="0"/>
      <p:regular r:id="rId43"/>
      <p:bold r:id="rId44"/>
      <p:italic r:id="rId45"/>
      <p:boldItalic r:id="rId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5989"/>
            <p14:sldId id="2145706005"/>
            <p14:sldId id="2145706006"/>
            <p14:sldId id="2145705990"/>
            <p14:sldId id="2145705991"/>
            <p14:sldId id="2145705978"/>
            <p14:sldId id="2145706010"/>
            <p14:sldId id="2145706009"/>
            <p14:sldId id="2145705992"/>
            <p14:sldId id="2145705998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13"/>
            <p14:sldId id="2145706017"/>
            <p14:sldId id="2145706018"/>
            <p14:sldId id="2145706014"/>
            <p14:sldId id="2145706016"/>
            <p14:sldId id="2145706022"/>
            <p14:sldId id="2145706024"/>
            <p14:sldId id="2145706015"/>
            <p14:sldId id="2145706004"/>
            <p14:sldId id="2145705823"/>
            <p14:sldId id="2145705934"/>
            <p14:sldId id="2145705791"/>
            <p14:sldId id="2145705742"/>
          </p14:sldIdLst>
        </p14:section>
        <p14:section name="Default Section" id="{4A2A6805-F643-43CA-A264-483E695524C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53072" autoAdjust="0"/>
  </p:normalViewPr>
  <p:slideViewPr>
    <p:cSldViewPr>
      <p:cViewPr>
        <p:scale>
          <a:sx n="66" d="100"/>
          <a:sy n="66" d="100"/>
        </p:scale>
        <p:origin x="29" y="-22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3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font" Target="fonts/font1.fntdata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4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F3D95-C6A4-4231-825D-6C7EF1D6A15A}" type="datetimeFigureOut">
              <a:rPr lang="en-US" smtClean="0"/>
              <a:t>8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1C2FD7-E7E2-4303-A14F-1AE6540A7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71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 Create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list types 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istType 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List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HeaderImage of a specific list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HeaderImag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ype lt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workspaces of a specific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orkspac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orkspace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orkspaceMember wm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orkspace 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orkspac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3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wm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 Create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provider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Nam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emplateProvider tp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templates of a specific provid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HeaderImag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TemplateProvider tp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emplate l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vider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57FE4-70E3-1B5F-CCF9-11A8EB13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4255DC-C8D7-EF03-0A34-D81132ABFE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FB94B-802A-CACD-3338-346A21899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4AA4E-FAC9-2C83-83C4-44AD52945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255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basic information of a specific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mmar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eatur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Template l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sample data of a specific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ell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o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SampleRow tro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SampleCell tcell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Column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ow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el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SampleRow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o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2508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Create List From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s of a templat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roupBy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aw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View tv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ViewSetting tv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View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s of a template and their setting valu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SettingValue tcsv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emplateColumn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 setting object of needed columns (choice)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Object lcso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emplateColumn t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TEMPLATE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Templat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Nam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olumn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Value]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Cell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DynamicColumn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Row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ellValu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v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Ro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tem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lumn setting object of needed columns (choice)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istDynamic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Object lcso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DynamicColumn ld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d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o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xt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LIST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D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type settings of a specific colum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Value lc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s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View lv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Order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 settings of a specific list vie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Vie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roupByColumn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aw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ViewSetting lvs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Vie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4</a:t>
            </a:r>
            <a:endParaRPr lang="en-US" sz="180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omment of a ro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ow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nten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A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RowComment lr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By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Row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r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attachment files of a row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File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r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ileAttachment fa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tem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Management</a:t>
            </a:r>
          </a:p>
          <a:p>
            <a:endParaRPr lang="en-US" sz="180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ystem data ty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d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isplayNam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ystemDataType sd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000"/>
              <a:t>-- List Column Setting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key setting of a specific system data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KeySetting ks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datatype settings of a specific colum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ataTypeSettingKey dtsk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ColumnSettingValue lc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SettingKey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c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um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dtsk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List View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view ty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itl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 vt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ettings of a specific view typ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Setting v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iewTypeSetting vt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Setting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vt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iewTy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4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</a:t>
            </a:r>
            <a:r>
              <a:rPr lang="en-US" sz="4000"/>
              <a:t>Manage Acces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permision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ermission p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cope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Description]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cope s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harelink setting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sShareLinkSetting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current list member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Emai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MemberPermission lmp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m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0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</a:t>
            </a:r>
            <a:r>
              <a:rPr lang="en-US" sz="1800"/>
              <a:t>Manage Access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harelinks of a specific list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URL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ot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Name]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 s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cope s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cope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Permission p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UserAccess slu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Link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de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SPECIFIC'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ount a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u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settings of a specific sharelink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ValueTyp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faultValu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Value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eySetting k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ShareLinkSettingValue slsv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KeySettingId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lsv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Link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k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sShareLinkSetting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SCREEN: TRASH 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all trash items of a specific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leteB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letedA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Statu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Path]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rashItem ti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ObjectType o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ti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By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Dashboard Scree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information of a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CLA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T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da-DK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da-DK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</a:t>
            </a:r>
            <a:r>
              <a:rPr lang="da-DK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 </a:t>
            </a:r>
            <a:r>
              <a:rPr lang="da-DK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da-DK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da-DK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r>
              <a:rPr lang="da-DK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da-DK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DungTran910@live.com</a:t>
            </a:r>
            <a:endParaRPr lang="da-DK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mpan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Statu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</a:t>
            </a: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lists created by a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Status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Lis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By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favorite lists of a user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lo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con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Statu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is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N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avoriteLis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l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is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f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    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Dashboard Screen</a:t>
            </a:r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en-US" sz="180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 Get information of a user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vatar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mpany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ccountStatus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Account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</a:p>
          <a:p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@Account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4FF178-7F5C-4C53-AC97-DF4205D97146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3636000" y="5056442"/>
            <a:ext cx="11234289" cy="182111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42186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222616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753800" y="2943000"/>
            <a:ext cx="3888000" cy="1944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723532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8000" y="2295000"/>
            <a:ext cx="7848000" cy="7344000"/>
          </a:xfrm>
        </p:spPr>
        <p:txBody>
          <a:bodyPr anchor="t"/>
          <a:lstStyle>
            <a:lvl1pPr marL="938213" indent="-938213" rtl="0">
              <a:lnSpc>
                <a:spcPct val="100000"/>
              </a:lnSpc>
              <a:spcBef>
                <a:spcPts val="225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938213" indent="0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409472261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647000"/>
            <a:ext cx="18288000" cy="8640000"/>
          </a:xfrm>
          <a:prstGeom prst="rect">
            <a:avLst/>
          </a:prstGeom>
          <a:solidFill>
            <a:srgbClr val="FFFFFF"/>
          </a:solidFill>
        </p:spPr>
        <p:txBody>
          <a:bodyPr wrap="square" lIns="108000" tIns="108000" rIns="108000" bIns="108000" rtlCol="0" anchor="ctr">
            <a:noAutofit/>
          </a:bodyPr>
          <a:lstStyle/>
          <a:p>
            <a:pPr algn="ctr" rtl="0"/>
            <a:endParaRPr lang="en-GB" sz="24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32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999" y="8802000"/>
            <a:ext cx="16997063" cy="553998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7999" y="6369243"/>
            <a:ext cx="16997063" cy="2215992"/>
          </a:xfrm>
        </p:spPr>
        <p:txBody>
          <a:bodyPr vert="horz" anchor="b">
            <a:noAutofit/>
          </a:bodyPr>
          <a:lstStyle>
            <a:lvl1pPr algn="l" rtl="0">
              <a:defRPr sz="72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863511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2293145"/>
            <a:ext cx="16993800" cy="734853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9275514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>
          <p15:clr>
            <a:srgbClr val="FBAE40"/>
          </p15:clr>
        </p15:guide>
        <p15:guide id="14" pos="270">
          <p15:clr>
            <a:srgbClr val="FBAE40"/>
          </p15:clr>
        </p15:guide>
        <p15:guide id="15" orient="horz" pos="692">
          <p15:clr>
            <a:srgbClr val="FBAE40"/>
          </p15:clr>
        </p15:guide>
        <p15:guide id="16" orient="horz" pos="4049">
          <p15:clr>
            <a:srgbClr val="FBAE40"/>
          </p15:clr>
        </p15:guide>
        <p15:guide id="17" pos="7409">
          <p15:clr>
            <a:srgbClr val="FBAE40"/>
          </p15:clr>
        </p15:guide>
        <p15:guide id="18" orient="horz" pos="135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881"/>
            <a:ext cx="169938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69938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709604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>
          <p15:clr>
            <a:srgbClr val="FBAE40"/>
          </p15:clr>
        </p15:guide>
        <p15:guide id="14" pos="270">
          <p15:clr>
            <a:srgbClr val="FBAE40"/>
          </p15:clr>
        </p15:guide>
        <p15:guide id="15" orient="horz" pos="692">
          <p15:clr>
            <a:srgbClr val="FBAE40"/>
          </p15:clr>
        </p15:guide>
        <p15:guide id="16" orient="horz" pos="4049">
          <p15:clr>
            <a:srgbClr val="FBAE40"/>
          </p15:clr>
        </p15:guide>
        <p15:guide id="17" pos="7409">
          <p15:clr>
            <a:srgbClr val="FBAE40"/>
          </p15:clr>
        </p15:guide>
        <p15:guide id="18" orient="horz" pos="135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3240881"/>
            <a:ext cx="8171999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295000"/>
            <a:ext cx="8171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68000" y="3240881"/>
            <a:ext cx="8174682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68000" y="2295000"/>
            <a:ext cx="8174682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0332400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>
          <p15:clr>
            <a:srgbClr val="FBAE40"/>
          </p15:clr>
        </p15:guide>
        <p15:guide id="16" pos="270">
          <p15:clr>
            <a:srgbClr val="FBAE40"/>
          </p15:clr>
        </p15:guide>
        <p15:guide id="17" orient="horz" pos="692">
          <p15:clr>
            <a:srgbClr val="FBAE40"/>
          </p15:clr>
        </p15:guide>
        <p15:guide id="18" orient="horz" pos="4049">
          <p15:clr>
            <a:srgbClr val="FBAE40"/>
          </p15:clr>
        </p15:guide>
        <p15:guide id="19" pos="7409">
          <p15:clr>
            <a:srgbClr val="FBAE40"/>
          </p15:clr>
        </p15:guide>
        <p15:guide id="20" orient="horz" pos="1359">
          <p15:clr>
            <a:srgbClr val="FBAE40"/>
          </p15:clr>
        </p15:guide>
        <p15:guide id="21" pos="3974">
          <p15:clr>
            <a:srgbClr val="FBAE40"/>
          </p15:clr>
        </p15:guide>
        <p15:guide id="22" pos="370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27400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408000" y="3240881"/>
            <a:ext cx="5232000" cy="640080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08000" y="2295000"/>
            <a:ext cx="52326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7448196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5210">
          <p15:clr>
            <a:srgbClr val="FBAE40"/>
          </p15:clr>
        </p15:guide>
        <p15:guide id="24" pos="4940">
          <p15:clr>
            <a:srgbClr val="FBAE40"/>
          </p15:clr>
        </p15:guide>
        <p15:guide id="25" pos="2740">
          <p15:clr>
            <a:srgbClr val="FBAE40"/>
          </p15:clr>
        </p15:guide>
        <p15:guide id="26" pos="247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3240002"/>
            <a:ext cx="7848300" cy="6401682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295000"/>
            <a:ext cx="78483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33097457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91397" y="1647000"/>
            <a:ext cx="6096603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0895999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0895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28056889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4848">
          <p15:clr>
            <a:srgbClr val="FBAE40"/>
          </p15:clr>
        </p15:guide>
        <p15:guide id="24" pos="51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719600" y="1647000"/>
            <a:ext cx="45684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2427931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2429827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4590941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5492">
          <p15:clr>
            <a:srgbClr val="FBAE40"/>
          </p15:clr>
        </p15:guide>
        <p15:guide id="24" pos="576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91397" y="1647000"/>
            <a:ext cx="6096603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3240001"/>
            <a:ext cx="10895999" cy="640168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2295000"/>
            <a:ext cx="10895999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872137" y="7697684"/>
            <a:ext cx="4767864" cy="1944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83699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orient="horz" pos="1359">
          <p15:clr>
            <a:srgbClr val="FBAE40"/>
          </p15:clr>
        </p15:guide>
        <p15:guide id="23" pos="4848">
          <p15:clr>
            <a:srgbClr val="FBAE40"/>
          </p15:clr>
        </p15:guide>
        <p15:guide id="24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7" y="3236120"/>
            <a:ext cx="5892534" cy="6405563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7" y="2295000"/>
            <a:ext cx="5892534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8533" y="3236120"/>
            <a:ext cx="5887397" cy="6405563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533" y="2295000"/>
            <a:ext cx="5887397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33484682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>
          <p15:clr>
            <a:srgbClr val="FBAE40"/>
          </p15:clr>
        </p15:guide>
        <p15:guide id="20" pos="270">
          <p15:clr>
            <a:srgbClr val="FBAE40"/>
          </p15:clr>
        </p15:guide>
        <p15:guide id="21" orient="horz" pos="692">
          <p15:clr>
            <a:srgbClr val="FBAE40"/>
          </p15:clr>
        </p15:guide>
        <p15:guide id="22" orient="horz" pos="4049">
          <p15:clr>
            <a:srgbClr val="FBAE40"/>
          </p15:clr>
        </p15:guide>
        <p15:guide id="23" orient="horz" pos="1359">
          <p15:clr>
            <a:srgbClr val="FBAE40"/>
          </p15:clr>
        </p15:guide>
        <p15:guide id="24" pos="5490">
          <p15:clr>
            <a:srgbClr val="FBAE40"/>
          </p15:clr>
        </p15:guide>
        <p15:guide id="25" pos="5760">
          <p15:clr>
            <a:srgbClr val="FBAE40"/>
          </p15:clr>
        </p15:guide>
        <p15:guide id="26" pos="3018">
          <p15:clr>
            <a:srgbClr val="FBAE40"/>
          </p15:clr>
        </p15:guide>
        <p15:guide id="27" pos="274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9144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93781" y="2293145"/>
            <a:ext cx="7848903" cy="7344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96002" y="6395930"/>
            <a:ext cx="7198200" cy="3245752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96002" y="6357834"/>
            <a:ext cx="432000" cy="380478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8062202" y="9438783"/>
            <a:ext cx="432000" cy="380478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14224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7409">
          <p15:clr>
            <a:srgbClr val="FBAE40"/>
          </p15:clr>
        </p15:guide>
        <p15:guide id="22" pos="411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2916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5212859"/>
            <a:ext cx="16994684" cy="4428824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481423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>
          <p15:clr>
            <a:srgbClr val="FBAE40"/>
          </p15:clr>
        </p15:guide>
        <p15:guide id="16" pos="270">
          <p15:clr>
            <a:srgbClr val="FBAE40"/>
          </p15:clr>
        </p15:guide>
        <p15:guide id="17" orient="horz" pos="692">
          <p15:clr>
            <a:srgbClr val="FBAE40"/>
          </p15:clr>
        </p15:guide>
        <p15:guide id="18" orient="horz" pos="4049">
          <p15:clr>
            <a:srgbClr val="FBAE40"/>
          </p15:clr>
        </p15:guide>
        <p15:guide id="19" pos="7409">
          <p15:clr>
            <a:srgbClr val="FBAE40"/>
          </p15:clr>
        </p15:guide>
        <p15:guide id="20" orient="horz" pos="218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8000" y="1647001"/>
            <a:ext cx="12960000" cy="1795767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262148" y="258927"/>
            <a:ext cx="2025852" cy="1026546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5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631548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>
          <p15:clr>
            <a:srgbClr val="FBAE40"/>
          </p15:clr>
        </p15:guide>
        <p15:guide id="4" pos="57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47000"/>
            <a:ext cx="18288000" cy="864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6147926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92040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84470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92040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84470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23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34166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368427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6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6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7242598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94535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33468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7338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37338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6271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76271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77737265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836999" y="571888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1288949" y="571888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4526317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6803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6803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93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229704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669119" y="475487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669119" y="5275011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9802" y="817671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79802" y="8696852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431751" y="8176718"/>
            <a:ext cx="3874395" cy="4154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431751" y="8696852"/>
            <a:ext cx="3874395" cy="945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45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1645370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>
          <p15:clr>
            <a:srgbClr val="FBAE40"/>
          </p15:clr>
        </p15:guide>
        <p15:guide id="13" pos="270">
          <p15:clr>
            <a:srgbClr val="FBAE40"/>
          </p15:clr>
        </p15:guide>
        <p15:guide id="14" orient="horz" pos="692">
          <p15:clr>
            <a:srgbClr val="FBAE40"/>
          </p15:clr>
        </p15:guide>
        <p15:guide id="15" orient="horz" pos="4049">
          <p15:clr>
            <a:srgbClr val="FBAE40"/>
          </p15:clr>
        </p15:guide>
        <p15:guide id="16" pos="740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997" y="3024000"/>
            <a:ext cx="7883916" cy="452817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997" y="2281238"/>
            <a:ext cx="788391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8000" y="2295000"/>
            <a:ext cx="3240000" cy="32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3997" y="4271291"/>
            <a:ext cx="7883916" cy="1709493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997" y="6803904"/>
            <a:ext cx="7883916" cy="2837778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8872465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pos="57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719600" y="1647000"/>
            <a:ext cx="4568400" cy="864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51687" y="7314452"/>
            <a:ext cx="5880426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7487" y="7314452"/>
            <a:ext cx="5880426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51687" y="5764314"/>
            <a:ext cx="5880426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1552"/>
            <a:ext cx="588042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4800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87487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7487" y="5764314"/>
            <a:ext cx="5880426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7487" y="5021552"/>
            <a:ext cx="5880426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095890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5415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3415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7999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7999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4800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3415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4150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34150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418220" y="7314452"/>
            <a:ext cx="5219700" cy="2327231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418220" y="2295000"/>
            <a:ext cx="2430000" cy="243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418220" y="5764314"/>
            <a:ext cx="5219700" cy="95141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418220" y="5021552"/>
            <a:ext cx="5219700" cy="507831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3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22262467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8000" y="2281237"/>
            <a:ext cx="16992000" cy="7357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368" y="10650900"/>
            <a:ext cx="6172200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5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916400" y="10650900"/>
            <a:ext cx="707232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5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6532422" y="529200"/>
            <a:ext cx="1107578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ransition spd="slow">
    <p:push dir="u"/>
  </p:transition>
  <p:hf sldNum="0" hdr="0" ftr="0" dt="0"/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Clr>
          <a:schemeClr val="tx1"/>
        </a:buClr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81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Clr>
          <a:schemeClr val="tx1"/>
        </a:buClr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1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62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025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2430000" indent="-405000" algn="l" defTabSz="1371600" rtl="0" eaLnBrk="1" latinLnBrk="0" hangingPunct="1">
        <a:lnSpc>
          <a:spcPct val="12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1.xml"/><Relationship Id="rId6" Type="http://schemas.openxmlformats.org/officeDocument/2006/relationships/image" Target="../media/image52.png"/><Relationship Id="rId5" Type="http://schemas.openxmlformats.org/officeDocument/2006/relationships/image" Target="../media/image5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2.xml"/><Relationship Id="rId6" Type="http://schemas.openxmlformats.org/officeDocument/2006/relationships/image" Target="../media/image57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creen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A20119-2312-F93D-05B1-8D6F20B56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697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Entities</a:t>
            </a:r>
          </a:p>
        </p:txBody>
      </p:sp>
      <p:pic>
        <p:nvPicPr>
          <p:cNvPr id="5" name="Picture Placeholder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DC40AF3-674C-83C6-8151-9C93A431E9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" b="1258"/>
          <a:stretch>
            <a:fillRect/>
          </a:stretch>
        </p:blipFill>
        <p:spPr>
          <a:xfrm>
            <a:off x="647998" y="1953142"/>
            <a:ext cx="17117489" cy="8087003"/>
          </a:xfr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ample Data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EEBF2C1-7B83-5A92-108A-2CCA51C6F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3"/>
          <a:stretch>
            <a:fillRect/>
          </a:stretch>
        </p:blipFill>
        <p:spPr>
          <a:xfrm>
            <a:off x="647998" y="1647000"/>
            <a:ext cx="16992005" cy="6257718"/>
          </a:xfrm>
        </p:spPr>
      </p:pic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9148836-0D2D-E5BA-C795-DB2F2F3DC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647999" y="1799400"/>
            <a:ext cx="16992003" cy="8210112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A0E0-7C8E-06E3-284F-F1B7A6D13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94DC190-E5C8-4167-A117-EA5AB5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6" name="Picture Placeholder 5" descr="A diagram of a computer&#10;&#10;AI-generated content may be incorrect.">
            <a:extLst>
              <a:ext uri="{FF2B5EF4-FFF2-40B4-BE49-F238E27FC236}">
                <a16:creationId xmlns:a16="http://schemas.microsoft.com/office/drawing/2014/main" id="{6540A3CE-BEED-12FC-75E0-82A3B40B3D4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28" b="97"/>
          <a:stretch>
            <a:fillRect/>
          </a:stretch>
        </p:blipFill>
        <p:spPr>
          <a:xfrm>
            <a:off x="1389943" y="1647000"/>
            <a:ext cx="15508115" cy="7850001"/>
          </a:xfrm>
        </p:spPr>
      </p:pic>
    </p:spTree>
    <p:extLst>
      <p:ext uri="{BB962C8B-B14F-4D97-AF65-F5344CB8AC3E}">
        <p14:creationId xmlns:p14="http://schemas.microsoft.com/office/powerpoint/2010/main" val="239744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5" name="Picture Placeholder 4" descr="A list of tasks on a sheet of paper&#10;&#10;AI-generated content may be incorrect.">
            <a:extLst>
              <a:ext uri="{FF2B5EF4-FFF2-40B4-BE49-F238E27FC236}">
                <a16:creationId xmlns:a16="http://schemas.microsoft.com/office/drawing/2014/main" id="{0B4C9DE7-8898-DE59-9B63-5288714AA6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2"/>
          <a:stretch>
            <a:fillRect/>
          </a:stretch>
        </p:blipFill>
        <p:spPr>
          <a:xfrm>
            <a:off x="647998" y="1647001"/>
            <a:ext cx="16992005" cy="6379091"/>
          </a:xfrm>
        </p:spPr>
      </p:pic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Templat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2A84C92-65C8-AE48-DEEA-242353DDFE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647450"/>
            <a:ext cx="18288000" cy="86391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647998" y="1647000"/>
            <a:ext cx="16992005" cy="6116118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647998" y="1647000"/>
            <a:ext cx="16992005" cy="8027718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648000" y="1647001"/>
            <a:ext cx="16992003" cy="7288340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647999" y="1647002"/>
            <a:ext cx="16878003" cy="6135363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647998" y="1647000"/>
            <a:ext cx="16992005" cy="6985947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3069772" y="1647000"/>
            <a:ext cx="12148457" cy="864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647998" y="1647002"/>
            <a:ext cx="16986860" cy="7186056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647998" y="1647000"/>
            <a:ext cx="16992005" cy="5286747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14393747" y="3520299"/>
            <a:ext cx="2604509" cy="789402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2810024" y="1647000"/>
            <a:ext cx="12667952" cy="7865112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647999" y="1647002"/>
            <a:ext cx="17030403" cy="5217597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647998" y="1647000"/>
            <a:ext cx="16992005" cy="8027718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EF90ED-AEED-A160-1BCE-A3CD84AD9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647998" y="1647825"/>
            <a:ext cx="16994684" cy="79938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371600">
              <a:spcAft>
                <a:spcPts val="900"/>
              </a:spcAft>
            </a:pPr>
            <a:endParaRPr lang="en-GB" sz="27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1296000" y="6369243"/>
            <a:ext cx="15703200" cy="221599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71600"/>
            <a:r>
              <a:rPr lang="en-GB" sz="7200">
                <a:solidFill>
                  <a:srgbClr val="333333"/>
                </a:solidFill>
                <a:latin typeface="Arial"/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642939" y="2295000"/>
            <a:ext cx="3475449" cy="7346682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216000" tIns="216000" rIns="144000" bIns="288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1371566">
              <a:spcAft>
                <a:spcPts val="2400"/>
              </a:spcAft>
            </a:pPr>
            <a:r>
              <a:rPr lang="en-GB" sz="3200" b="1" kern="1200" spc="6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Working area</a:t>
            </a:r>
          </a:p>
          <a:p>
            <a:pPr lvl="3" defTabSz="1371566">
              <a:spcAft>
                <a:spcPts val="2400"/>
              </a:spcAft>
            </a:pP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Depending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on the slide, a single-column layout, a 2-column or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3-column layout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is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used.</a:t>
            </a:r>
          </a:p>
          <a:p>
            <a:pPr lvl="3" defTabSz="1371566">
              <a:spcAft>
                <a:spcPts val="2400"/>
              </a:spcAft>
            </a:pP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Display </a:t>
            </a:r>
            <a:r>
              <a:rPr lang="en-GB" sz="2400" spc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the ruler </a:t>
            </a:r>
            <a:r>
              <a:rPr lang="en-GB" sz="2400" spc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and guides in the «View» tab.</a:t>
            </a:r>
            <a:endParaRPr lang="en-GB" sz="2400" spc="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4672266" y="6179597"/>
            <a:ext cx="6005295" cy="3328331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11637387" y="6161139"/>
            <a:ext cx="6005295" cy="3346788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7643331" y="3236120"/>
            <a:ext cx="6912000" cy="2106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371600">
                <a:spcAft>
                  <a:spcPts val="900"/>
                </a:spcAft>
              </a:pPr>
              <a:endParaRPr lang="en-GB" sz="2700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66">
                <a:defRPr/>
              </a:pPr>
              <a:endParaRPr lang="en-GB" dirty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5214854" cy="1647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6685143" y="3259545"/>
            <a:ext cx="0" cy="63821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9750194" y="4827911"/>
            <a:ext cx="2001929" cy="646331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Main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10309237" y="3259546"/>
            <a:ext cx="904160" cy="818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13532507" y="3259546"/>
            <a:ext cx="904160" cy="8188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white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14605112" y="3259546"/>
            <a:ext cx="904160" cy="8188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8160389" y="3259546"/>
            <a:ext cx="904160" cy="8188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white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12458084" y="3259546"/>
            <a:ext cx="904160" cy="818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6753969" y="3259546"/>
            <a:ext cx="904160" cy="8188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5679538" y="3259457"/>
            <a:ext cx="904160" cy="817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333333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11383669" y="3259546"/>
            <a:ext cx="904160" cy="8188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7085966" y="3259546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9227983" y="3259546"/>
            <a:ext cx="904160" cy="818843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srgbClr val="FFFFFF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10303635" y="4328413"/>
            <a:ext cx="904146" cy="326063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642938" y="3236120"/>
            <a:ext cx="3186000" cy="640555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3429000" lvl="5" defTabSz="1371600"/>
            <a:endParaRPr lang="en-GB" sz="27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16" y="3609144"/>
            <a:ext cx="2949362" cy="211985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766607" y="6069414"/>
            <a:ext cx="2959170" cy="103065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766607" y="8542122"/>
            <a:ext cx="2959170" cy="81386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766607" y="7405389"/>
            <a:ext cx="2959170" cy="813864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787009" y="7405390"/>
            <a:ext cx="2938769" cy="19505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828755">
                <a:defRPr/>
              </a:pPr>
              <a:endParaRPr lang="en-GB" sz="2201">
                <a:solidFill>
                  <a:prstClr val="black"/>
                </a:solidFill>
                <a:latin typeface="Arial"/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4642171" y="3800695"/>
            <a:ext cx="1989218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33333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4642172" y="4743407"/>
            <a:ext cx="1664751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CC071E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4642163" y="8044285"/>
            <a:ext cx="1664756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E3061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4064966" y="3985085"/>
            <a:ext cx="326063" cy="284594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4064966" y="4397367"/>
            <a:ext cx="326063" cy="1331628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4064966" y="7405389"/>
            <a:ext cx="326063" cy="1970463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4642172" y="6269035"/>
            <a:ext cx="1664751" cy="637166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828709">
              <a:lnSpc>
                <a:spcPct val="100000"/>
              </a:lnSpc>
              <a:spcBef>
                <a:spcPts val="2000"/>
              </a:spcBef>
              <a:buNone/>
              <a:defRPr/>
            </a:pPr>
            <a:r>
              <a:rPr lang="en-GB" sz="1800">
                <a:solidFill>
                  <a:srgbClr val="333333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4064966" y="6021989"/>
            <a:ext cx="326063" cy="1120160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7105844" y="6402809"/>
            <a:ext cx="904160" cy="818843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10329115" y="6402809"/>
            <a:ext cx="904160" cy="818843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9254690" y="6402809"/>
            <a:ext cx="904160" cy="818843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8180267" y="6402809"/>
            <a:ext cx="904160" cy="818843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13552385" y="6402809"/>
            <a:ext cx="904160" cy="818843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14624990" y="6402809"/>
            <a:ext cx="904160" cy="818843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5699416" y="6402809"/>
            <a:ext cx="904160" cy="818843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6773847" y="6402809"/>
            <a:ext cx="904160" cy="818843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7105844" y="7396724"/>
            <a:ext cx="904160" cy="818843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10329115" y="7396724"/>
            <a:ext cx="904160" cy="818843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9254690" y="7396724"/>
            <a:ext cx="904160" cy="818843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8180267" y="7396724"/>
            <a:ext cx="904160" cy="818843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13552385" y="7396724"/>
            <a:ext cx="904160" cy="818843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14624990" y="7396724"/>
            <a:ext cx="904160" cy="818843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5699416" y="7396724"/>
            <a:ext cx="904160" cy="818843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6773847" y="7396724"/>
            <a:ext cx="904160" cy="818843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7142878" y="5896167"/>
            <a:ext cx="1050218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829915" y="4357970"/>
            <a:ext cx="2809547" cy="12798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828755">
                <a:defRPr/>
              </a:pPr>
              <a:endParaRPr lang="en-GB" sz="2201">
                <a:solidFill>
                  <a:prstClr val="black"/>
                </a:solidFill>
                <a:latin typeface="Arial"/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7078076" y="4328413"/>
            <a:ext cx="1986437" cy="326063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7085966" y="4827910"/>
            <a:ext cx="1978550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Default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12609572" y="4827910"/>
            <a:ext cx="3780000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11383669" y="4328413"/>
            <a:ext cx="6239120" cy="326063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7078076" y="8492185"/>
            <a:ext cx="4155197" cy="326063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7105844" y="8991683"/>
            <a:ext cx="4127435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12458084" y="6402809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11383660" y="6402809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12458084" y="7396724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11383660" y="7396724"/>
            <a:ext cx="904160" cy="81884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755">
              <a:defRPr/>
            </a:pPr>
            <a:endParaRPr lang="en-GB" sz="1601">
              <a:solidFill>
                <a:prstClr val="black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13522804" y="8492185"/>
            <a:ext cx="4155197" cy="326063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13550572" y="8991683"/>
            <a:ext cx="4127435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1371566">
              <a:spcBef>
                <a:spcPts val="1500"/>
              </a:spcBef>
              <a:defRPr/>
            </a:pP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olours for diagrams, </a:t>
            </a:r>
            <a:b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</a:br>
            <a:r>
              <a:rPr lang="en-GB" sz="2100">
                <a:solidFill>
                  <a:srgbClr val="333333"/>
                </a:solidFill>
                <a:latin typeface="Arial"/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9144000" y="1647000"/>
            <a:ext cx="9144000" cy="864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8000" y="2333498"/>
            <a:ext cx="7848000" cy="7344000"/>
          </a:xfrm>
        </p:spPr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Key Functionalities</a:t>
            </a:r>
          </a:p>
          <a:p>
            <a:r>
              <a:rPr lang="en-US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647000"/>
            <a:ext cx="18288000" cy="324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9144000" y="1647000"/>
            <a:ext cx="9144000" cy="864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1003934" lvl="1" indent="-501968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2007869" lvl="2" indent="-669290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Key </a:t>
            </a:r>
            <a:r>
              <a:rPr lang="en-US" dirty="0" err="1"/>
              <a:t>Functionalit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58858" y="1664639"/>
            <a:ext cx="10829142" cy="695772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999" y="2740325"/>
            <a:ext cx="7316129" cy="4806348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0"/>
            <a:ext cx="14580000" cy="1647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Screen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278B8A0-1BF9-276A-9BF9-724FE94B212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3386"/>
          <a:stretch>
            <a:fillRect/>
          </a:stretch>
        </p:blipFill>
        <p:spPr>
          <a:xfrm>
            <a:off x="0" y="1647000"/>
            <a:ext cx="18288000" cy="864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9</TotalTime>
  <Words>2519</Words>
  <Application>Microsoft Office PowerPoint</Application>
  <PresentationFormat>Custom</PresentationFormat>
  <Paragraphs>504</Paragraphs>
  <Slides>39</Slides>
  <Notes>37</Notes>
  <HiddenSlides>3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Cascadia Mono</vt:lpstr>
      <vt:lpstr>Calibri</vt:lpstr>
      <vt:lpstr>Aptos</vt:lpstr>
      <vt:lpstr>Office Theme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Entities</vt:lpstr>
      <vt:lpstr>Dashboard Sample Data</vt:lpstr>
      <vt:lpstr>Create List Screen</vt:lpstr>
      <vt:lpstr>Create List From List Type</vt:lpstr>
      <vt:lpstr>Create List Screen</vt:lpstr>
      <vt:lpstr>Create List Sample Data</vt:lpstr>
      <vt:lpstr>Create List Sample Data</vt:lpstr>
      <vt:lpstr>Create List From Template</vt:lpstr>
      <vt:lpstr>Template View &amp; Template Column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  <vt:lpstr>PowerPoint Presentation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ng Professional Internship Program</dc:title>
  <dc:creator>Dũng Trần</dc:creator>
  <cp:lastModifiedBy>Dũng Trần</cp:lastModifiedBy>
  <cp:revision>11</cp:revision>
  <dcterms:created xsi:type="dcterms:W3CDTF">2006-08-16T00:00:00Z</dcterms:created>
  <dcterms:modified xsi:type="dcterms:W3CDTF">2025-08-05T10:42:31Z</dcterms:modified>
  <dc:identifier>DAGuFyPGShM</dc:identifier>
</cp:coreProperties>
</file>